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7" r:id="rId2"/>
    <p:sldId id="268" r:id="rId3"/>
    <p:sldId id="269" r:id="rId4"/>
    <p:sldId id="270" r:id="rId5"/>
    <p:sldId id="273" r:id="rId6"/>
    <p:sldId id="271" r:id="rId7"/>
    <p:sldId id="272" r:id="rId8"/>
  </p:sldIdLst>
  <p:sldSz cx="12192000" cy="6858000"/>
  <p:notesSz cx="6858000" cy="9144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6F70"/>
    <a:srgbClr val="B7B640"/>
    <a:srgbClr val="CFE3E6"/>
    <a:srgbClr val="87AF9B"/>
    <a:srgbClr val="CBDDB5"/>
    <a:srgbClr val="9FC9AF"/>
    <a:srgbClr val="FFE864"/>
    <a:srgbClr val="F8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2" autoAdjust="0"/>
    <p:restoredTop sz="94639" autoAdjust="0"/>
  </p:normalViewPr>
  <p:slideViewPr>
    <p:cSldViewPr snapToGrid="0" snapToObjects="1">
      <p:cViewPr varScale="1">
        <p:scale>
          <a:sx n="98" d="100"/>
          <a:sy n="98" d="100"/>
        </p:scale>
        <p:origin x="-392" y="-1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442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48B64B4-7A93-4A4F-939A-414EC418B08B}" type="datetimeFigureOut">
              <a:rPr lang="en-US"/>
              <a:pPr>
                <a:defRPr/>
              </a:pPr>
              <a:t>28/06/16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DAB6D47-ACCA-7C45-B395-82C90C2621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4558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27622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27622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3802E4D-58D5-1140-A999-CF96B98B00FC}" type="datetimeFigureOut">
              <a:rPr lang="en-GB"/>
              <a:pPr>
                <a:defRPr/>
              </a:pPr>
              <a:t>28/06/16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850" y="685800"/>
            <a:ext cx="6718300" cy="37798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09638" y="4572000"/>
            <a:ext cx="5038725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 err="1" smtClean="0"/>
              <a:t>Text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66188"/>
            <a:ext cx="2971800" cy="276225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66188"/>
            <a:ext cx="2971800" cy="276225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2A85FC-BB28-0545-AD1C-3FAA0EFDB05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9089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ts val="6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180975" indent="-180975" algn="l" rtl="0" fontAlgn="base">
      <a:spcBef>
        <a:spcPts val="600"/>
      </a:spcBef>
      <a:spcAft>
        <a:spcPct val="0"/>
      </a:spcAft>
      <a:buClr>
        <a:schemeClr val="bg2"/>
      </a:buClr>
      <a:buFont typeface="Arial" charset="0"/>
      <a:buChar char="•"/>
      <a:defRPr sz="10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269875" indent="-88900" algn="l" rtl="0" fontAlgn="base">
      <a:spcBef>
        <a:spcPts val="600"/>
      </a:spcBef>
      <a:spcAft>
        <a:spcPct val="0"/>
      </a:spcAft>
      <a:buFont typeface="Symbol" charset="0"/>
      <a:buChar char="-"/>
      <a:defRPr sz="8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358775" indent="-88900" algn="l" rtl="0" fontAlgn="base">
      <a:spcBef>
        <a:spcPts val="600"/>
      </a:spcBef>
      <a:spcAft>
        <a:spcPct val="0"/>
      </a:spcAft>
      <a:buFont typeface="Arial" charset="0"/>
      <a:buChar char="•"/>
      <a:defRPr sz="8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447675" indent="-88900" algn="l" rtl="0" fontAlgn="base">
      <a:spcBef>
        <a:spcPts val="600"/>
      </a:spcBef>
      <a:spcAft>
        <a:spcPct val="0"/>
      </a:spcAft>
      <a:buFont typeface="Courier New" charset="0"/>
      <a:buChar char="o"/>
      <a:defRPr sz="8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" charset="0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D8C83A5-C0B3-064F-AE89-4401170F8062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2A85FC-BB28-0545-AD1C-3FAA0EFDB055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178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4.emf"/><Relationship Id="rId6" Type="http://schemas.openxmlformats.org/officeDocument/2006/relationships/image" Target="../media/image2.png"/><Relationship Id="rId7" Type="http://schemas.openxmlformats.org/officeDocument/2006/relationships/image" Target="../media/image15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Relationship Id="rId3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54483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430824" y="4669445"/>
            <a:ext cx="6502400" cy="211137"/>
          </a:xfrm>
        </p:spPr>
        <p:txBody>
          <a:bodyPr/>
          <a:lstStyle>
            <a:lvl1pPr marL="0" marR="0" indent="0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1200" b="1" u="none" strike="noStrike" kern="0" cap="all" spc="110" normalizeH="0" baseline="0" noProof="0">
                <a:ln>
                  <a:noFill/>
                </a:ln>
                <a:solidFill>
                  <a:srgbClr val="F8AC00"/>
                </a:solidFill>
                <a:effectLst/>
                <a:uLnTx/>
                <a:uFillTx/>
                <a:latin typeface="Calibri"/>
                <a:cs typeface="Calibri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1430824" y="4985889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1430338" y="5849938"/>
            <a:ext cx="6502400" cy="211137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684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ailin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2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2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275" y="6059488"/>
            <a:ext cx="846138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7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60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Folie" r:id="rId4" imgW="38100" imgH="38100" progId="">
                  <p:embed/>
                </p:oleObj>
              </mc:Choice>
              <mc:Fallback>
                <p:oleObj name="think-cell Foli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20000" y="1684801"/>
            <a:ext cx="5678400" cy="4352463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20000" y="255401"/>
            <a:ext cx="5841600" cy="641201"/>
          </a:xfrm>
        </p:spPr>
        <p:txBody>
          <a:bodyPr>
            <a:sp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9F0D1DB-4492-E449-AA12-EADCEC098F3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695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Folie" r:id="rId4" imgW="38100" imgH="38100" progId="">
                  <p:embed/>
                </p:oleObj>
              </mc:Choice>
              <mc:Fallback>
                <p:oleObj name="think-cell Foli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bild 7"/>
          <p:cNvSpPr>
            <a:spLocks noGrp="1"/>
          </p:cNvSpPr>
          <p:nvPr>
            <p:ph type="pic" sz="quarter" idx="14"/>
          </p:nvPr>
        </p:nvSpPr>
        <p:spPr>
          <a:xfrm>
            <a:off x="1" y="3175"/>
            <a:ext cx="12187767" cy="6854825"/>
          </a:xfr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smtClean="0"/>
              <a:t>Drag picture to placeholder or click icon to add</a:t>
            </a:r>
            <a:endParaRPr lang="sv-SE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20000" y="1684801"/>
            <a:ext cx="5678400" cy="4352463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20000" y="255401"/>
            <a:ext cx="5841600" cy="641201"/>
          </a:xfrm>
        </p:spPr>
        <p:txBody>
          <a:bodyPr>
            <a:sp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text 10"/>
          <p:cNvSpPr>
            <a:spLocks noGrp="1"/>
          </p:cNvSpPr>
          <p:nvPr>
            <p:ph type="body" sz="quarter" idx="15"/>
          </p:nvPr>
        </p:nvSpPr>
        <p:spPr>
          <a:xfrm>
            <a:off x="705600" y="6465600"/>
            <a:ext cx="9744000" cy="0"/>
          </a:xfrm>
          <a:solidFill>
            <a:schemeClr val="tx2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4" name="Platshållare för text 13"/>
          <p:cNvSpPr>
            <a:spLocks noGrp="1"/>
          </p:cNvSpPr>
          <p:nvPr>
            <p:ph type="body" sz="quarter" idx="16"/>
          </p:nvPr>
        </p:nvSpPr>
        <p:spPr>
          <a:xfrm>
            <a:off x="9586800" y="194400"/>
            <a:ext cx="2181600" cy="637200"/>
          </a:xfrm>
          <a:blipFill>
            <a:blip r:embed="rId6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6" name="Platshållare för text 15"/>
          <p:cNvSpPr>
            <a:spLocks noGrp="1"/>
          </p:cNvSpPr>
          <p:nvPr>
            <p:ph type="body" sz="quarter" idx="17"/>
          </p:nvPr>
        </p:nvSpPr>
        <p:spPr>
          <a:xfrm>
            <a:off x="705600" y="993600"/>
            <a:ext cx="10896000" cy="0"/>
          </a:xfrm>
          <a:ln>
            <a:solidFill>
              <a:schemeClr val="tx2"/>
            </a:soli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8" name="Platshållare för text 17"/>
          <p:cNvSpPr>
            <a:spLocks noGrp="1"/>
          </p:cNvSpPr>
          <p:nvPr>
            <p:ph type="body" sz="quarter" idx="18"/>
          </p:nvPr>
        </p:nvSpPr>
        <p:spPr>
          <a:xfrm>
            <a:off x="10998000" y="6296401"/>
            <a:ext cx="630000" cy="421200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1F78689-2B64-FC44-BF92-DB2692E987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638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2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6913" y="195263"/>
            <a:ext cx="2182812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39370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3"/>
          <p:cNvCxnSpPr/>
          <p:nvPr/>
        </p:nvCxnSpPr>
        <p:spPr>
          <a:xfrm>
            <a:off x="703263" y="6465888"/>
            <a:ext cx="9744075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20"/>
          <p:cNvCxnSpPr/>
          <p:nvPr/>
        </p:nvCxnSpPr>
        <p:spPr>
          <a:xfrm>
            <a:off x="703263" y="992188"/>
            <a:ext cx="10896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Bildobjekt 6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6913" y="195263"/>
            <a:ext cx="2182812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cap="none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</a:p>
        </p:txBody>
      </p:sp>
    </p:spTree>
    <p:extLst>
      <p:ext uri="{BB962C8B-B14F-4D97-AF65-F5344CB8AC3E}">
        <p14:creationId xmlns:p14="http://schemas.microsoft.com/office/powerpoint/2010/main" val="4134910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cap="none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20000" y="1684800"/>
            <a:ext cx="10515600" cy="4351338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9FB5BA1-1E74-7948-88B0-7C5EBC65688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43310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2"/>
          <p:cNvCxnSpPr/>
          <p:nvPr/>
        </p:nvCxnSpPr>
        <p:spPr>
          <a:xfrm>
            <a:off x="6038850" y="1685925"/>
            <a:ext cx="0" cy="3303588"/>
          </a:xfrm>
          <a:prstGeom prst="line">
            <a:avLst/>
          </a:prstGeom>
          <a:ln>
            <a:solidFill>
              <a:srgbClr val="6C6F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20001" y="2343705"/>
            <a:ext cx="5136817" cy="3692432"/>
          </a:xfrm>
        </p:spPr>
        <p:txBody>
          <a:bodyPr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9667" y="1681163"/>
            <a:ext cx="5137152" cy="56488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10300" y="2343600"/>
            <a:ext cx="5136816" cy="3692432"/>
          </a:xfrm>
        </p:spPr>
        <p:txBody>
          <a:bodyPr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11200" y="1681163"/>
            <a:ext cx="5137152" cy="564887"/>
          </a:xfrm>
        </p:spPr>
        <p:txBody>
          <a:bodyPr>
            <a:normAutofit/>
          </a:bodyPr>
          <a:lstStyle>
            <a:lvl1pPr marL="0" indent="0">
              <a:buFontTx/>
              <a:buNone/>
              <a:defRPr lang="en-US" sz="1800" b="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8460030A-75FA-A64C-8528-678963C4DE9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616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cap="none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19668" y="1681164"/>
            <a:ext cx="5262033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210301" y="1681164"/>
            <a:ext cx="5429700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719668" y="2047875"/>
            <a:ext cx="5262033" cy="3989388"/>
          </a:xfrm>
        </p:spPr>
        <p:txBody>
          <a:bodyPr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210301" y="2047875"/>
            <a:ext cx="5429700" cy="3989388"/>
          </a:xfrm>
        </p:spPr>
        <p:txBody>
          <a:bodyPr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DE967957-194B-CD41-9477-C5B0323C04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8379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3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cap="none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97865" y="1679576"/>
            <a:ext cx="3120000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280300" y="1679576"/>
            <a:ext cx="3120000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5280300" y="20478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8521667" y="1679576"/>
            <a:ext cx="3120000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8"/>
          </p:nvPr>
        </p:nvSpPr>
        <p:spPr>
          <a:xfrm>
            <a:off x="8521667" y="20478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552000" y="2047876"/>
            <a:ext cx="1285267" cy="2308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1997865" y="32416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280300" y="32416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8521667" y="32416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552000" y="3241676"/>
            <a:ext cx="1285267" cy="2308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1997865" y="46259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5280300" y="46259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8521667" y="46259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2" name="Textplatzhalter 6"/>
          <p:cNvSpPr>
            <a:spLocks noGrp="1"/>
          </p:cNvSpPr>
          <p:nvPr>
            <p:ph type="body" sz="quarter" idx="27"/>
          </p:nvPr>
        </p:nvSpPr>
        <p:spPr>
          <a:xfrm>
            <a:off x="552000" y="4625976"/>
            <a:ext cx="1285267" cy="2308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31"/>
          </p:nvPr>
        </p:nvSpPr>
        <p:spPr>
          <a:xfrm>
            <a:off x="1997865" y="2047876"/>
            <a:ext cx="3120000" cy="2308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EE81E352-2F20-BF4E-9147-51B1B8AE0C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33" name="Date Placeholder 6"/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4" name="Footer Placeholder 7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0973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962706" y="1681163"/>
            <a:ext cx="4677295" cy="393170"/>
          </a:xfrm>
          <a:prstGeom prst="rect">
            <a:avLst/>
          </a:prstGeom>
          <a:noFill/>
          <a:ln w="12700">
            <a:noFill/>
          </a:ln>
        </p:spPr>
        <p:txBody>
          <a:bodyPr lIns="108000" tIns="108000" rIns="108000" bIns="108000">
            <a:noAutofit/>
          </a:bodyPr>
          <a:lstStyle>
            <a:lvl1pPr marL="0" indent="0">
              <a:buClr>
                <a:schemeClr val="bg2"/>
              </a:buClr>
              <a:buNone/>
              <a:defRPr sz="1800">
                <a:ln>
                  <a:noFill/>
                </a:ln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2" name="Inhaltsplatzhalter 21"/>
          <p:cNvSpPr>
            <a:spLocks noGrp="1"/>
          </p:cNvSpPr>
          <p:nvPr>
            <p:ph sz="quarter" idx="18"/>
          </p:nvPr>
        </p:nvSpPr>
        <p:spPr>
          <a:xfrm>
            <a:off x="719665" y="1681163"/>
            <a:ext cx="5830763" cy="4356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Lucida Grande"/>
              <a:buNone/>
              <a:tabLst/>
              <a:defRPr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 smtClean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719666" y="1275746"/>
            <a:ext cx="10938935" cy="23083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>
              <a:buClr>
                <a:schemeClr val="bg2"/>
              </a:buClr>
              <a:buNone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7108073" y="2189194"/>
            <a:ext cx="4288088" cy="3848071"/>
          </a:xfrm>
        </p:spPr>
        <p:txBody>
          <a:bodyPr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05303300-5C77-1E4B-BAAE-BD439CCECC4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22391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 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275" y="5446713"/>
            <a:ext cx="846138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objekt 2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738" y="511175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430824" y="4669445"/>
            <a:ext cx="6502400" cy="211137"/>
          </a:xfrm>
        </p:spPr>
        <p:txBody>
          <a:bodyPr/>
          <a:lstStyle>
            <a:lvl1pPr marL="0" marR="0" indent="0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 sz="1200" b="1" u="none" strike="noStrike" kern="0" cap="all" spc="11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cs typeface="Calibri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1430824" y="4985889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1430338" y="5849938"/>
            <a:ext cx="6502400" cy="211137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6889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720000" y="1281113"/>
            <a:ext cx="10897569" cy="483711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77835A5B-17CC-A449-B04B-FFA1653D136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03951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5" y="540001"/>
            <a:ext cx="7680000" cy="320601"/>
          </a:xfrm>
        </p:spPr>
        <p:txBody>
          <a:bodyPr>
            <a:sp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719666" y="1281113"/>
            <a:ext cx="5378453" cy="483711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428509" y="1281113"/>
            <a:ext cx="5157355" cy="483711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EDD3460-7372-664F-B687-569F589C61B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[Press, Insert - Header/Footer for insert text on all slides] NAME OF AUTHOR, 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111800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line Su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3"/>
          <p:cNvCxnSpPr/>
          <p:nvPr/>
        </p:nvCxnSpPr>
        <p:spPr>
          <a:xfrm>
            <a:off x="703263" y="6465888"/>
            <a:ext cx="1089660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719669" y="2536825"/>
            <a:ext cx="7680332" cy="1632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/>
            </a:lvl2pPr>
            <a:lvl3pPr marL="361338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49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line M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3"/>
          <p:cNvCxnSpPr/>
          <p:nvPr/>
        </p:nvCxnSpPr>
        <p:spPr>
          <a:xfrm>
            <a:off x="703263" y="6465888"/>
            <a:ext cx="1089660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719669" y="2536825"/>
            <a:ext cx="7680332" cy="1632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/>
            </a:lvl2pPr>
            <a:lvl3pPr marL="361338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4697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line Caff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3"/>
          <p:cNvCxnSpPr/>
          <p:nvPr/>
        </p:nvCxnSpPr>
        <p:spPr>
          <a:xfrm>
            <a:off x="703263" y="6465888"/>
            <a:ext cx="1089660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719669" y="2536825"/>
            <a:ext cx="7680332" cy="1632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/>
            </a:lvl2pPr>
            <a:lvl3pPr marL="361338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32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oma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40" b="22577"/>
          <a:stretch>
            <a:fillRect/>
          </a:stretch>
        </p:blipFill>
        <p:spPr bwMode="auto">
          <a:xfrm>
            <a:off x="-1588" y="0"/>
            <a:ext cx="12193588" cy="504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60579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9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</a:p>
        </p:txBody>
      </p:sp>
    </p:spTree>
    <p:extLst>
      <p:ext uri="{BB962C8B-B14F-4D97-AF65-F5344CB8AC3E}">
        <p14:creationId xmlns:p14="http://schemas.microsoft.com/office/powerpoint/2010/main" val="1756396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traw ha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1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88" b="26390"/>
          <a:stretch>
            <a:fillRect/>
          </a:stretch>
        </p:blipFill>
        <p:spPr bwMode="auto">
          <a:xfrm>
            <a:off x="0" y="0"/>
            <a:ext cx="12193588" cy="504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2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275" y="6059488"/>
            <a:ext cx="846138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7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599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loating wom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 b="60725"/>
          <a:stretch>
            <a:fillRect/>
          </a:stretch>
        </p:blipFill>
        <p:spPr bwMode="auto">
          <a:xfrm>
            <a:off x="0" y="0"/>
            <a:ext cx="12193588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7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60579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Platshållare för sidfot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/>
          <a:lstStyle>
            <a:lvl1pPr>
              <a:defRPr sz="105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</a:p>
        </p:txBody>
      </p:sp>
    </p:spTree>
    <p:extLst>
      <p:ext uri="{BB962C8B-B14F-4D97-AF65-F5344CB8AC3E}">
        <p14:creationId xmlns:p14="http://schemas.microsoft.com/office/powerpoint/2010/main" val="2652787624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lm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59" b="27364"/>
          <a:stretch>
            <a:fillRect/>
          </a:stretch>
        </p:blipFill>
        <p:spPr bwMode="auto">
          <a:xfrm>
            <a:off x="0" y="0"/>
            <a:ext cx="12193588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60579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7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</a:p>
        </p:txBody>
      </p:sp>
    </p:spTree>
    <p:extLst>
      <p:ext uri="{BB962C8B-B14F-4D97-AF65-F5344CB8AC3E}">
        <p14:creationId xmlns:p14="http://schemas.microsoft.com/office/powerpoint/2010/main" val="3898359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Girl and boy in table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3" b="16579"/>
          <a:stretch>
            <a:fillRect/>
          </a:stretch>
        </p:blipFill>
        <p:spPr bwMode="auto">
          <a:xfrm>
            <a:off x="0" y="0"/>
            <a:ext cx="12193588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2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275" y="6059488"/>
            <a:ext cx="846138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8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2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nb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_MG_8848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5" b="19826"/>
          <a:stretch>
            <a:fillRect/>
          </a:stretch>
        </p:blipFill>
        <p:spPr bwMode="auto">
          <a:xfrm>
            <a:off x="0" y="0"/>
            <a:ext cx="12193588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10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60579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319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eas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8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" b="703"/>
          <a:stretch>
            <a:fillRect/>
          </a:stretch>
        </p:blipFill>
        <p:spPr bwMode="auto">
          <a:xfrm>
            <a:off x="0" y="0"/>
            <a:ext cx="12199938" cy="504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9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39700"/>
            <a:ext cx="32004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0863" y="6057900"/>
            <a:ext cx="846137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87600" y="5316118"/>
            <a:ext cx="6501600" cy="25508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 b="1" cap="all" spc="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687600" y="5644124"/>
            <a:ext cx="6502400" cy="796845"/>
          </a:xfrm>
        </p:spPr>
        <p:txBody>
          <a:bodyPr/>
          <a:lstStyle>
            <a:lvl1pPr>
              <a:lnSpc>
                <a:spcPts val="3200"/>
              </a:lnSpc>
              <a:defRPr sz="3400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687388" y="6500813"/>
            <a:ext cx="6502400" cy="212725"/>
          </a:xfrm>
        </p:spPr>
        <p:txBody>
          <a:bodyPr>
            <a:normAutofit/>
          </a:bodyPr>
          <a:lstStyle>
            <a:lvl1pPr defTabSz="457200">
              <a:spcBef>
                <a:spcPts val="500"/>
              </a:spcBef>
              <a:defRPr kumimoji="0" lang="en-GB" sz="1050" u="none" strike="noStrike" kern="0" normalizeH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>
              <a:defRPr/>
            </a:pPr>
            <a:r>
              <a:rPr lang="en-US"/>
              <a:t>[Press, Insert - Header/Footer for insert text on all slides] NAME OF AUTHOR,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611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theme" Target="../theme/theme1.xml"/><Relationship Id="rId26" Type="http://schemas.openxmlformats.org/officeDocument/2006/relationships/image" Target="../media/image1.emf"/><Relationship Id="rId2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9138" y="0"/>
            <a:ext cx="7680325" cy="8636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 noProof="0" dirty="0" smtClean="0"/>
              <a:t>Very long headline with </a:t>
            </a:r>
            <a:br>
              <a:rPr lang="en-GB" noProof="0" dirty="0" smtClean="0"/>
            </a:br>
            <a:r>
              <a:rPr lang="en-GB" noProof="0" dirty="0" smtClean="0"/>
              <a:t>two lines of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24963" y="6545263"/>
            <a:ext cx="1200150" cy="12223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AF83573-6D7D-EB43-83F6-C6236CFF4F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cxnSp>
        <p:nvCxnSpPr>
          <p:cNvPr id="21" name="Gerade Verbindung 20"/>
          <p:cNvCxnSpPr/>
          <p:nvPr/>
        </p:nvCxnSpPr>
        <p:spPr>
          <a:xfrm>
            <a:off x="703263" y="992188"/>
            <a:ext cx="10896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703263" y="6465888"/>
            <a:ext cx="9744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6" name="Bild 10"/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9788" y="6296025"/>
            <a:ext cx="630237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720725" y="1684338"/>
            <a:ext cx="10515600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456613" y="6545263"/>
            <a:ext cx="720725" cy="1222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lang="sv-SE" sz="8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720725" y="6545263"/>
            <a:ext cx="7678738" cy="1222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defRPr lang="en-GB" sz="800" cap="all" spc="7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[Press, Insert - Header/Footer for insert text on all slides] NAME OF AUTHOR, TITLE</a:t>
            </a:r>
            <a:endParaRPr/>
          </a:p>
        </p:txBody>
      </p:sp>
      <p:pic>
        <p:nvPicPr>
          <p:cNvPr id="5130" name="Bildobjekt 2"/>
          <p:cNvPicPr preferRelativeResize="0">
            <a:picLocks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6913" y="195263"/>
            <a:ext cx="2182812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14" r:id="rId15"/>
    <p:sldLayoutId id="214748373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35" r:id="rId22"/>
    <p:sldLayoutId id="2147483736" r:id="rId23"/>
    <p:sldLayoutId id="2147483737" r:id="rId24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Calibri"/>
          <a:ea typeface="ＭＳ Ｐゴシック" charset="0"/>
          <a:cs typeface="Calibri"/>
        </a:defRPr>
      </a:lvl1pPr>
      <a:lvl2pPr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2pPr>
      <a:lvl3pPr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3pPr>
      <a:lvl4pPr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4pPr>
      <a:lvl5pPr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5pPr>
      <a:lvl6pPr marL="457200"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6pPr>
      <a:lvl7pPr marL="914400"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7pPr>
      <a:lvl8pPr marL="1371600"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8pPr>
      <a:lvl9pPr marL="1828800" algn="l" defTabSz="457200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charset="0"/>
          <a:ea typeface="ＭＳ Ｐゴシック" charset="0"/>
        </a:defRPr>
      </a:lvl9pPr>
    </p:titleStyle>
    <p:bodyStyle>
      <a:lvl1pPr marL="179388" indent="-17938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Lucida Grande" charset="0"/>
        <a:buChar char="›"/>
        <a:defRPr sz="15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60363" indent="-179388" algn="l" rtl="0" eaLnBrk="1" fontAlgn="base" hangingPunct="1">
        <a:spcBef>
          <a:spcPts val="1200"/>
        </a:spcBef>
        <a:spcAft>
          <a:spcPct val="0"/>
        </a:spcAft>
        <a:buSzPct val="100000"/>
        <a:buFont typeface="Arial" charset="0"/>
        <a:buChar char="•"/>
        <a:defRPr sz="1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41338" indent="-179388" algn="l" rtl="0" eaLnBrk="1" fontAlgn="base" hangingPunct="1">
        <a:spcBef>
          <a:spcPts val="1200"/>
        </a:spcBef>
        <a:spcAft>
          <a:spcPct val="0"/>
        </a:spcAft>
        <a:buSzPct val="100000"/>
        <a:buFont typeface="Lucida Grande" charset="0"/>
        <a:buChar char="-"/>
        <a:defRPr sz="15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719138" indent="-179388" algn="l" rtl="0" eaLnBrk="1" fontAlgn="base" hangingPunct="1">
        <a:spcBef>
          <a:spcPts val="1200"/>
        </a:spcBef>
        <a:spcAft>
          <a:spcPct val="0"/>
        </a:spcAft>
        <a:buSzPct val="80000"/>
        <a:buFont typeface="Arial" charset="0"/>
        <a:buChar char="•"/>
        <a:defRPr sz="1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898525" indent="-179388" algn="l" rtl="0" eaLnBrk="1" fontAlgn="base" hangingPunct="1">
        <a:spcBef>
          <a:spcPts val="1200"/>
        </a:spcBef>
        <a:spcAft>
          <a:spcPct val="0"/>
        </a:spcAft>
        <a:buSzPct val="80000"/>
        <a:buFont typeface="Arial" charset="0"/>
        <a:buChar char="•"/>
        <a:defRPr sz="1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jpg"/><Relationship Id="rId5" Type="http://schemas.openxmlformats.org/officeDocument/2006/relationships/image" Target="../media/image20.jp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1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>
                <a:ea typeface="+mj-ea"/>
              </a:rPr>
              <a:t/>
            </a:r>
            <a:br>
              <a:rPr lang="en-GB" dirty="0" smtClean="0">
                <a:ea typeface="+mj-ea"/>
              </a:rPr>
            </a:br>
            <a:r>
              <a:rPr lang="en-GB" dirty="0">
                <a:ea typeface="+mj-ea"/>
              </a:rPr>
              <a:t/>
            </a:r>
            <a:br>
              <a:rPr lang="en-GB" dirty="0">
                <a:ea typeface="+mj-ea"/>
              </a:rPr>
            </a:br>
            <a:r>
              <a:rPr lang="en-GB" dirty="0" smtClean="0">
                <a:ea typeface="+mj-ea"/>
              </a:rPr>
              <a:t/>
            </a:r>
            <a:br>
              <a:rPr lang="en-GB" dirty="0" smtClean="0">
                <a:ea typeface="+mj-ea"/>
              </a:rPr>
            </a:br>
            <a:r>
              <a:rPr lang="en-GB" dirty="0" smtClean="0">
                <a:ea typeface="+mj-ea"/>
              </a:rPr>
              <a:t>									</a:t>
            </a:r>
            <a:br>
              <a:rPr lang="en-GB" dirty="0" smtClean="0">
                <a:ea typeface="+mj-ea"/>
              </a:rPr>
            </a:br>
            <a:r>
              <a:rPr lang="en-GB" dirty="0">
                <a:ea typeface="+mj-ea"/>
              </a:rPr>
              <a:t/>
            </a:r>
            <a:br>
              <a:rPr lang="en-GB" dirty="0">
                <a:ea typeface="+mj-ea"/>
              </a:rPr>
            </a:br>
            <a:r>
              <a:rPr lang="en-GB" dirty="0" smtClean="0">
                <a:ea typeface="+mj-ea"/>
              </a:rPr>
              <a:t>continuous delivery in a primeval environment </a:t>
            </a:r>
            <a:endParaRPr lang="en-GB" dirty="0">
              <a:ea typeface="+mj-ea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4400">
              <a:spcBef>
                <a:spcPts val="0"/>
              </a:spcBef>
              <a:defRPr/>
            </a:pPr>
            <a:r>
              <a:rPr dirty="0"/>
              <a:t>Version 1.0				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US" dirty="0" smtClean="0"/>
              <a:t>We are very proud to serve more than 20 million who choose to travel with us annually </a:t>
            </a:r>
          </a:p>
          <a:p>
            <a:pPr lvl="1"/>
            <a:r>
              <a:rPr lang="en-US" dirty="0" smtClean="0"/>
              <a:t>Our timeless spirit of innovation started in 1841 and it is this that makes us stand out from the crowd</a:t>
            </a:r>
          </a:p>
          <a:p>
            <a:pPr lvl="1"/>
            <a:r>
              <a:rPr lang="en-US" dirty="0" smtClean="0"/>
              <a:t>Thomas Cook Group </a:t>
            </a:r>
            <a:r>
              <a:rPr lang="en-US" dirty="0" err="1" smtClean="0"/>
              <a:t>plc</a:t>
            </a:r>
            <a:r>
              <a:rPr lang="en-US" dirty="0" smtClean="0"/>
              <a:t> is one of the world’s leading leisure travel groups with sales of £7.8 billion in the year ending 30 September 2015.</a:t>
            </a:r>
          </a:p>
          <a:p>
            <a:pPr lvl="1"/>
            <a:r>
              <a:rPr lang="en-US" dirty="0" smtClean="0"/>
              <a:t> Thomas Cook is supported by </a:t>
            </a:r>
            <a:r>
              <a:rPr lang="en-US" dirty="0" smtClean="0"/>
              <a:t>22,000 employees </a:t>
            </a:r>
            <a:endParaRPr lang="en-US" dirty="0" smtClean="0"/>
          </a:p>
          <a:p>
            <a:pPr lvl="1"/>
            <a:r>
              <a:rPr lang="en-US" dirty="0" smtClean="0"/>
              <a:t>Operates from 15 source markets</a:t>
            </a:r>
          </a:p>
          <a:p>
            <a:pPr lvl="1"/>
            <a:r>
              <a:rPr lang="en-US" dirty="0" smtClean="0"/>
              <a:t>Is number one or two (by revenue) in all its core markets.</a:t>
            </a:r>
          </a:p>
          <a:p>
            <a:pPr lvl="1"/>
            <a:r>
              <a:rPr lang="en-US" dirty="0" smtClean="0"/>
              <a:t> Thomas Cook Group </a:t>
            </a:r>
            <a:r>
              <a:rPr lang="en-US" dirty="0" err="1" smtClean="0"/>
              <a:t>plc’s</a:t>
            </a:r>
            <a:r>
              <a:rPr lang="en-US" dirty="0" smtClean="0"/>
              <a:t> shares are listed on the London Stock Exchange (TCG)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20000" y="537102"/>
            <a:ext cx="5841600" cy="359500"/>
          </a:xfrm>
        </p:spPr>
        <p:txBody>
          <a:bodyPr/>
          <a:lstStyle/>
          <a:p>
            <a:r>
              <a:rPr lang="en-US" dirty="0" smtClean="0"/>
              <a:t>Thomas Cook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[Press, Insert - Header/Footer for insert text on all slides] NAME OF AUTHOR, TITLE</a:t>
            </a:r>
            <a:endParaRPr lang="en-US" dirty="0"/>
          </a:p>
        </p:txBody>
      </p:sp>
      <p:pic>
        <p:nvPicPr>
          <p:cNvPr id="2" name="Picture 1" descr="175years_TC_vert_cmyk_label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5703" y="1390048"/>
            <a:ext cx="4167536" cy="488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414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545263"/>
            <a:ext cx="7678738" cy="122237"/>
          </a:xfrm>
        </p:spPr>
        <p:txBody>
          <a:bodyPr/>
          <a:lstStyle/>
          <a:p>
            <a:pPr>
              <a:defRPr/>
            </a:pPr>
            <a:r>
              <a:rPr lang="en-GB" smtClean="0"/>
              <a:t>[Press, Insert - Header/Footer for insert text on all slides] NAME OF AUTHOR, TIT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0991850" y="6545263"/>
            <a:ext cx="1200150" cy="122237"/>
          </a:xfrm>
        </p:spPr>
        <p:txBody>
          <a:bodyPr/>
          <a:lstStyle/>
          <a:p>
            <a:pPr>
              <a:defRPr/>
            </a:pPr>
            <a:r>
              <a:rPr lang="en-GB" smtClean="0"/>
              <a:t>Page </a:t>
            </a:r>
            <a:fld id="{89F0D1DB-4492-E449-AA12-EADCEC098F3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  <p:pic>
        <p:nvPicPr>
          <p:cNvPr id="6" name="Picture 5" descr="Facebook_New_Logo_(2015).sv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01" y="1539874"/>
            <a:ext cx="2794000" cy="1054100"/>
          </a:xfrm>
          <a:prstGeom prst="rect">
            <a:avLst/>
          </a:prstGeom>
        </p:spPr>
      </p:pic>
      <p:pic>
        <p:nvPicPr>
          <p:cNvPr id="7" name="Picture 6" descr="fpqabe341bwut16xkmuj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9945" y="3003190"/>
            <a:ext cx="5339004" cy="3003190"/>
          </a:xfrm>
          <a:prstGeom prst="rect">
            <a:avLst/>
          </a:prstGeom>
        </p:spPr>
      </p:pic>
      <p:pic>
        <p:nvPicPr>
          <p:cNvPr id="8" name="Picture 7" descr="Is-Google-Searching-for-the-Next-Big-Thing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53" y="2848741"/>
            <a:ext cx="5339004" cy="3003190"/>
          </a:xfrm>
          <a:prstGeom prst="rect">
            <a:avLst/>
          </a:prstGeom>
        </p:spPr>
      </p:pic>
      <p:pic>
        <p:nvPicPr>
          <p:cNvPr id="9" name="Picture 8" descr="amazon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935" y="438790"/>
            <a:ext cx="3757448" cy="2512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37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c-on-the-stree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540" y="1143040"/>
            <a:ext cx="108966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644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umblr_kxlflmi3091qauk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50" y="693447"/>
            <a:ext cx="11350625" cy="554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37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 We D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ells Holiday Packages</a:t>
            </a:r>
          </a:p>
          <a:p>
            <a:r>
              <a:rPr lang="en-US" dirty="0" smtClean="0"/>
              <a:t> </a:t>
            </a:r>
            <a:r>
              <a:rPr lang="en-US" dirty="0"/>
              <a:t>F</a:t>
            </a:r>
            <a:r>
              <a:rPr lang="en-US" dirty="0" smtClean="0"/>
              <a:t>lights</a:t>
            </a:r>
          </a:p>
          <a:p>
            <a:r>
              <a:rPr lang="en-US" dirty="0" smtClean="0"/>
              <a:t>Hotels</a:t>
            </a:r>
          </a:p>
          <a:p>
            <a:r>
              <a:rPr lang="en-US" dirty="0" smtClean="0"/>
              <a:t>City Breaks </a:t>
            </a:r>
          </a:p>
          <a:p>
            <a:r>
              <a:rPr lang="en-US" dirty="0" smtClean="0"/>
              <a:t>Ancillary services </a:t>
            </a:r>
            <a:endParaRPr lang="en-US" dirty="0" smtClean="0"/>
          </a:p>
          <a:p>
            <a:r>
              <a:rPr lang="en-US" dirty="0" smtClean="0"/>
              <a:t>Currency 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hat does the business do			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etter customer experiences </a:t>
            </a:r>
            <a:endParaRPr lang="en-US" dirty="0" smtClean="0"/>
          </a:p>
          <a:p>
            <a:r>
              <a:rPr lang="en-US" dirty="0"/>
              <a:t>Higher quality </a:t>
            </a:r>
            <a:endParaRPr lang="en-US" dirty="0" smtClean="0"/>
          </a:p>
          <a:p>
            <a:r>
              <a:rPr lang="en-US" dirty="0" smtClean="0"/>
              <a:t>Increased </a:t>
            </a:r>
            <a:r>
              <a:rPr lang="en-US" dirty="0" smtClean="0"/>
              <a:t>Velocity </a:t>
            </a:r>
          </a:p>
          <a:p>
            <a:r>
              <a:rPr lang="en-US" dirty="0" smtClean="0"/>
              <a:t>Greater stability </a:t>
            </a:r>
          </a:p>
          <a:p>
            <a:r>
              <a:rPr lang="en-US" dirty="0" smtClean="0"/>
              <a:t>Faster </a:t>
            </a:r>
            <a:r>
              <a:rPr lang="en-US" dirty="0" smtClean="0"/>
              <a:t>site </a:t>
            </a:r>
          </a:p>
          <a:p>
            <a:r>
              <a:rPr lang="en-US" dirty="0" smtClean="0"/>
              <a:t>Multiple Device </a:t>
            </a:r>
          </a:p>
          <a:p>
            <a:r>
              <a:rPr lang="en-US" dirty="0" smtClean="0"/>
              <a:t>Better Tools </a:t>
            </a:r>
          </a:p>
          <a:p>
            <a:r>
              <a:rPr lang="en-US" dirty="0" smtClean="0"/>
              <a:t>Sell </a:t>
            </a:r>
            <a:r>
              <a:rPr lang="en-US" dirty="0" smtClean="0"/>
              <a:t>more – make more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What are the core drivers 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2185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n Part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ntinuous Integration Environment</a:t>
            </a:r>
          </a:p>
          <a:p>
            <a:pPr lvl="1"/>
            <a:r>
              <a:rPr lang="en-US" dirty="0" smtClean="0"/>
              <a:t>Dry Run jobs </a:t>
            </a:r>
          </a:p>
          <a:p>
            <a:pPr lvl="1"/>
            <a:r>
              <a:rPr lang="en-US" dirty="0" smtClean="0"/>
              <a:t>Dynamic Environments (Pre Commit) </a:t>
            </a:r>
          </a:p>
          <a:p>
            <a:pPr lvl="1"/>
            <a:r>
              <a:rPr lang="en-US" dirty="0" smtClean="0"/>
              <a:t>Integration Environment  </a:t>
            </a:r>
          </a:p>
          <a:p>
            <a:pPr lvl="0">
              <a:buClr>
                <a:srgbClr val="F8AC00"/>
              </a:buClr>
            </a:pPr>
            <a:r>
              <a:rPr lang="en-US" dirty="0">
                <a:solidFill>
                  <a:srgbClr val="1A171B"/>
                </a:solidFill>
              </a:rPr>
              <a:t>Continuous </a:t>
            </a:r>
            <a:r>
              <a:rPr lang="en-US" dirty="0" smtClean="0">
                <a:solidFill>
                  <a:srgbClr val="1A171B"/>
                </a:solidFill>
              </a:rPr>
              <a:t>Delivery Environment</a:t>
            </a:r>
            <a:endParaRPr lang="en-US" dirty="0" smtClean="0"/>
          </a:p>
          <a:p>
            <a:pPr lvl="1">
              <a:buClr>
                <a:srgbClr val="F8AC00"/>
              </a:buClr>
            </a:pPr>
            <a:r>
              <a:rPr lang="en-US" dirty="0" smtClean="0">
                <a:solidFill>
                  <a:srgbClr val="1A171B"/>
                </a:solidFill>
              </a:rPr>
              <a:t>Pipelines for projects </a:t>
            </a:r>
          </a:p>
          <a:p>
            <a:pPr lvl="1">
              <a:buClr>
                <a:srgbClr val="F8AC00"/>
              </a:buClr>
            </a:pPr>
            <a:r>
              <a:rPr lang="en-US" dirty="0" smtClean="0">
                <a:solidFill>
                  <a:srgbClr val="1A171B"/>
                </a:solidFill>
              </a:rPr>
              <a:t>Environmental control </a:t>
            </a:r>
          </a:p>
          <a:p>
            <a:pPr lvl="1">
              <a:buClr>
                <a:srgbClr val="F8AC00"/>
              </a:buClr>
            </a:pPr>
            <a:r>
              <a:rPr lang="en-US" dirty="0" smtClean="0">
                <a:solidFill>
                  <a:srgbClr val="1A171B"/>
                </a:solidFill>
              </a:rPr>
              <a:t>Visibility </a:t>
            </a:r>
          </a:p>
          <a:p>
            <a:pPr lvl="1">
              <a:buClr>
                <a:srgbClr val="F8AC00"/>
              </a:buClr>
            </a:pPr>
            <a:endParaRPr lang="en-US" dirty="0">
              <a:solidFill>
                <a:srgbClr val="1A171B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hat did we build 	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hef</a:t>
            </a:r>
          </a:p>
          <a:p>
            <a:r>
              <a:rPr lang="en-US" dirty="0" smtClean="0"/>
              <a:t>Jenkins </a:t>
            </a:r>
          </a:p>
          <a:p>
            <a:r>
              <a:rPr lang="en-US" dirty="0" smtClean="0"/>
              <a:t>Code Climate </a:t>
            </a:r>
          </a:p>
          <a:p>
            <a:r>
              <a:rPr lang="en-US" dirty="0" err="1" smtClean="0"/>
              <a:t>Sonarquabe</a:t>
            </a:r>
            <a:r>
              <a:rPr lang="en-US" dirty="0" smtClean="0"/>
              <a:t> </a:t>
            </a:r>
            <a:endParaRPr lang="en-US" dirty="0" smtClean="0"/>
          </a:p>
          <a:p>
            <a:r>
              <a:rPr lang="en-US" dirty="0" err="1" smtClean="0"/>
              <a:t>Sinopia</a:t>
            </a:r>
            <a:r>
              <a:rPr lang="en-US" dirty="0" smtClean="0"/>
              <a:t> </a:t>
            </a:r>
          </a:p>
          <a:p>
            <a:r>
              <a:rPr lang="en-US" dirty="0" smtClean="0"/>
              <a:t>Maven </a:t>
            </a:r>
          </a:p>
          <a:p>
            <a:r>
              <a:rPr lang="en-US" dirty="0" err="1" smtClean="0"/>
              <a:t>RackSpace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Softlay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Some of the Tools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[Press, Insert - Header/Footer for insert text on all slides] NAME OF AUTHOR, TITL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Page </a:t>
            </a:r>
            <a:fld id="{8460030A-75FA-A64C-8528-678963C4DE9C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9711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9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a8&quot; g=&quot;9f&quot; b=&quot;7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-ppt-tc-uk-template">
  <a:themeElements>
    <a:clrScheme name="Thomas Cook Colours">
      <a:dk1>
        <a:srgbClr val="1A171B"/>
      </a:dk1>
      <a:lt1>
        <a:srgbClr val="FFFFFF"/>
      </a:lt1>
      <a:dk2>
        <a:srgbClr val="6C6F70"/>
      </a:dk2>
      <a:lt2>
        <a:srgbClr val="CCCCCC"/>
      </a:lt2>
      <a:accent1>
        <a:srgbClr val="F8AC00"/>
      </a:accent1>
      <a:accent2>
        <a:srgbClr val="FFE864"/>
      </a:accent2>
      <a:accent3>
        <a:srgbClr val="B7B640"/>
      </a:accent3>
      <a:accent4>
        <a:srgbClr val="CBDDB5"/>
      </a:accent4>
      <a:accent5>
        <a:srgbClr val="87AF9B"/>
      </a:accent5>
      <a:accent6>
        <a:srgbClr val="CFE3E6"/>
      </a:accent6>
      <a:hlink>
        <a:srgbClr val="838095"/>
      </a:hlink>
      <a:folHlink>
        <a:srgbClr val="87A0A3"/>
      </a:folHlink>
    </a:clrScheme>
    <a:fontScheme name="Thomas Cook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Template_and_Toolbox_TC_16.9" id="{B0427581-EB27-4F70-8FAD-91A1C9E4D0C6}" vid="{3F0FF583-A10B-4032-A80F-ECB0DB86BD76}"/>
    </a:ext>
  </a:extLst>
</a:theme>
</file>

<file path=ppt/theme/theme2.xml><?xml version="1.0" encoding="utf-8"?>
<a:theme xmlns:a="http://schemas.openxmlformats.org/drawingml/2006/main" name="Larissa">
  <a:themeElements>
    <a:clrScheme name="Thomas Cook Colours">
      <a:dk1>
        <a:srgbClr val="1A171B"/>
      </a:dk1>
      <a:lt1>
        <a:srgbClr val="FFFFFF"/>
      </a:lt1>
      <a:dk2>
        <a:srgbClr val="6C6F70"/>
      </a:dk2>
      <a:lt2>
        <a:srgbClr val="CCCCCC"/>
      </a:lt2>
      <a:accent1>
        <a:srgbClr val="F8AC00"/>
      </a:accent1>
      <a:accent2>
        <a:srgbClr val="FFE864"/>
      </a:accent2>
      <a:accent3>
        <a:srgbClr val="B7B640"/>
      </a:accent3>
      <a:accent4>
        <a:srgbClr val="CBDDB5"/>
      </a:accent4>
      <a:accent5>
        <a:srgbClr val="87AF9B"/>
      </a:accent5>
      <a:accent6>
        <a:srgbClr val="CFE3E6"/>
      </a:accent6>
      <a:hlink>
        <a:srgbClr val="838095"/>
      </a:hlink>
      <a:folHlink>
        <a:srgbClr val="87A0A3"/>
      </a:folHlink>
    </a:clrScheme>
    <a:fontScheme name="Thomas Cook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Thomas Cook Colours">
      <a:dk1>
        <a:srgbClr val="1A171B"/>
      </a:dk1>
      <a:lt1>
        <a:srgbClr val="FFFFFF"/>
      </a:lt1>
      <a:dk2>
        <a:srgbClr val="6C6F70"/>
      </a:dk2>
      <a:lt2>
        <a:srgbClr val="CCCCCC"/>
      </a:lt2>
      <a:accent1>
        <a:srgbClr val="F8AC00"/>
      </a:accent1>
      <a:accent2>
        <a:srgbClr val="FFE864"/>
      </a:accent2>
      <a:accent3>
        <a:srgbClr val="B7B640"/>
      </a:accent3>
      <a:accent4>
        <a:srgbClr val="CBDDB5"/>
      </a:accent4>
      <a:accent5>
        <a:srgbClr val="87AF9B"/>
      </a:accent5>
      <a:accent6>
        <a:srgbClr val="CFE3E6"/>
      </a:accent6>
      <a:hlink>
        <a:srgbClr val="838095"/>
      </a:hlink>
      <a:folHlink>
        <a:srgbClr val="87A0A3"/>
      </a:folHlink>
    </a:clrScheme>
    <a:fontScheme name="Thomas Cook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-ppt-tc-uk-template.pot</Template>
  <TotalTime>7386</TotalTime>
  <Words>266</Words>
  <Application>Microsoft Macintosh PowerPoint</Application>
  <PresentationFormat>Custom</PresentationFormat>
  <Paragraphs>53</Paragraphs>
  <Slides>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new-ppt-tc-uk-template</vt:lpstr>
      <vt:lpstr>think-cell Folie</vt:lpstr>
      <vt:lpstr>              continuous delivery in a primeval environment </vt:lpstr>
      <vt:lpstr>Thomas Cook </vt:lpstr>
      <vt:lpstr>PowerPoint Presentation</vt:lpstr>
      <vt:lpstr>PowerPoint Presentation</vt:lpstr>
      <vt:lpstr>PowerPoint Presentation</vt:lpstr>
      <vt:lpstr>What Do We Do</vt:lpstr>
      <vt:lpstr>The Fun Part 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omas Cook</dc:title>
  <dc:subject/>
  <dc:creator>Marie;Sara</dc:creator>
  <cp:keywords/>
  <dc:description/>
  <cp:lastModifiedBy>Lee Sexton</cp:lastModifiedBy>
  <cp:revision>188</cp:revision>
  <cp:lastPrinted>2015-11-18T13:42:40Z</cp:lastPrinted>
  <dcterms:created xsi:type="dcterms:W3CDTF">2015-10-24T13:20:22Z</dcterms:created>
  <dcterms:modified xsi:type="dcterms:W3CDTF">2016-06-29T14:20:03Z</dcterms:modified>
  <cp:category/>
</cp:coreProperties>
</file>